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4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535493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4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34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7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26.xml"/><Relationship Id="rId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03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27000" y="348298"/>
            <a:ext cx="8618538" cy="492443"/>
          </a:xfrm>
        </p:spPr>
        <p:txBody>
          <a:bodyPr/>
          <a:lstStyle/>
          <a:p>
            <a:r>
              <a:rPr lang="en-US" altLang="ja-JP" sz="1600" dirty="0">
                <a:solidFill>
                  <a:schemeClr val="accent4"/>
                </a:solidFill>
                <a:ea typeface="MS PGothic" pitchFamily="34" charset="-128"/>
              </a:rPr>
              <a:t>Passenger car OEM in Asia – we implemented a standardized way of selling and improved processes at ~70 dealers nationwide leading to a ~25% uplift over ~6 month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98638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ternational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passenger car OEM in Asia with a &lt; 3% market shar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nd aspiring to double it’s sales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lient had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no new launches in pipelin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for the next ~2 years;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alerships faced low returns from busines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nd were contemplating moving out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Senior management had recently faced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ignificant churn and severe friction b/w HQ and Asia leadership</a:t>
            </a:r>
            <a:endParaRPr lang="en-US" altLang="ja-JP" sz="1400" b="1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360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nducted an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nd to end diagnostic of the client’s marketing &amp; sales practices and dealer operation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o identify weak links and opportunities to provide a sales boost to retain dealers until new launches could hit the market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uilt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ustom modules on target setting, lead generation, lead conversion and performance tracking to be implemented at dealership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Piloted the program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t 11 dealerships in Asia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 the next phase,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anded the scope to ~70 dealers across ~35 cities covering ~70% of sales volumes</a:t>
            </a:r>
            <a:endParaRPr lang="en-US" altLang="ja-JP" sz="1400" b="1" dirty="0">
              <a:ea typeface="MS PGothic" pitchFamily="34" charset="-128"/>
            </a:endParaRPr>
          </a:p>
        </p:txBody>
      </p:sp>
      <p:sp>
        <p:nvSpPr>
          <p:cNvPr id="84083" name="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01" y="145098"/>
            <a:ext cx="374128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dirty="0">
                <a:solidFill>
                  <a:srgbClr val="808080"/>
                </a:solidFill>
              </a:rPr>
              <a:t>Case study – passenger car OEM in Asia</a:t>
            </a:r>
          </a:p>
        </p:txBody>
      </p:sp>
      <p:sp>
        <p:nvSpPr>
          <p:cNvPr id="27" name="Rectangle 96"/>
          <p:cNvSpPr>
            <a:spLocks noChangeArrowheads="1"/>
          </p:cNvSpPr>
          <p:nvPr/>
        </p:nvSpPr>
        <p:spPr bwMode="gray">
          <a:xfrm>
            <a:off x="5830887" y="1479550"/>
            <a:ext cx="2674938" cy="3791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Pilot markets showed an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up-lift of ~25% over a period 3 months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Established a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tandardized way of selling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across dealerships</a:t>
            </a:r>
            <a:r>
              <a:rPr lang="en-US" altLang="ja-JP" sz="1400" dirty="0">
                <a:ea typeface="MS PGothic" pitchFamily="34" charset="-128"/>
              </a:rPr>
              <a:t> – with </a:t>
            </a:r>
            <a:r>
              <a:rPr lang="en-US" altLang="ja-JP" sz="1400" b="1" dirty="0">
                <a:ea typeface="MS PGothic" pitchFamily="34" charset="-128"/>
              </a:rPr>
              <a:t>process adherence going up to 90-100% </a:t>
            </a:r>
            <a:r>
              <a:rPr lang="en-US" altLang="ja-JP" sz="1400" dirty="0">
                <a:ea typeface="MS PGothic" pitchFamily="34" charset="-128"/>
              </a:rPr>
              <a:t>on most parameters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uring national roll-out, the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“high compliance” dealerships overachieved targets by ~20% while the “low-compliance” ones fell ~25% short of targets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Motivated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aler partners encouraged to continue relationship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with the client</a:t>
            </a: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53B174C6-D5FD-F44A-BD28-1EAEDA43C9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" y="10078"/>
            <a:ext cx="2829911" cy="1456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8237FAD4-29E7-714F-A365-CCDFEAC552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6558" y="-2858"/>
            <a:ext cx="667512" cy="1456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1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A&amp;A019_Implemented a standardized way of selling and improved processes at ~70 dealers nationwide leading to a ~25% uplift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03</TotalTime>
  <Words>279</Words>
  <Application>Microsoft Macintosh PowerPoint</Application>
  <PresentationFormat>Custom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Passenger car OEM in Asia – we implemented a standardized way of selling and improved processes at ~70 dealers nationwide leading to a ~25% uplift over ~6 month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2</cp:revision>
  <cp:lastPrinted>2008-09-19T11:06:26Z</cp:lastPrinted>
  <dcterms:created xsi:type="dcterms:W3CDTF">2014-02-06T06:04:59Z</dcterms:created>
  <dcterms:modified xsi:type="dcterms:W3CDTF">2019-03-18T12:5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